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17C575-256D-4992-984A-6B8BB3B9B858}" v="58" dt="2023-03-06T23:42:25.6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817C575-256D-4992-984A-6B8BB3B9B858}"/>
    <pc:docChg chg="custSel addSld delSld modSld">
      <pc:chgData name="Roberto Gallardo" userId="49a044883f185952" providerId="LiveId" clId="{7817C575-256D-4992-984A-6B8BB3B9B858}" dt="2023-03-06T23:42:08.224" v="217"/>
      <pc:docMkLst>
        <pc:docMk/>
      </pc:docMkLst>
      <pc:sldChg chg="del">
        <pc:chgData name="Roberto Gallardo" userId="49a044883f185952" providerId="LiveId" clId="{7817C575-256D-4992-984A-6B8BB3B9B858}" dt="2023-02-25T14:59:44.327" v="4" actId="47"/>
        <pc:sldMkLst>
          <pc:docMk/>
          <pc:sldMk cId="1175010214" sldId="261"/>
        </pc:sldMkLst>
      </pc:sldChg>
      <pc:sldChg chg="addSp modSp mod">
        <pc:chgData name="Roberto Gallardo" userId="49a044883f185952" providerId="LiveId" clId="{7817C575-256D-4992-984A-6B8BB3B9B858}" dt="2023-03-06T23:34:37.617" v="11" actId="1076"/>
        <pc:sldMkLst>
          <pc:docMk/>
          <pc:sldMk cId="1418533539" sldId="271"/>
        </pc:sldMkLst>
        <pc:picChg chg="add mod">
          <ac:chgData name="Roberto Gallardo" userId="49a044883f185952" providerId="LiveId" clId="{7817C575-256D-4992-984A-6B8BB3B9B858}" dt="2023-03-06T23:34:37.617" v="11" actId="1076"/>
          <ac:picMkLst>
            <pc:docMk/>
            <pc:sldMk cId="1418533539" sldId="271"/>
            <ac:picMk id="6" creationId="{32CC7B83-B8F8-9DEB-B221-8B361D167492}"/>
          </ac:picMkLst>
        </pc:picChg>
      </pc:sldChg>
      <pc:sldChg chg="addSp modSp mod">
        <pc:chgData name="Roberto Gallardo" userId="49a044883f185952" providerId="LiveId" clId="{7817C575-256D-4992-984A-6B8BB3B9B858}" dt="2023-03-06T23:36:48.908" v="77" actId="1076"/>
        <pc:sldMkLst>
          <pc:docMk/>
          <pc:sldMk cId="2124848710" sldId="281"/>
        </pc:sldMkLst>
        <pc:picChg chg="add mod">
          <ac:chgData name="Roberto Gallardo" userId="49a044883f185952" providerId="LiveId" clId="{7817C575-256D-4992-984A-6B8BB3B9B858}" dt="2023-03-06T23:36:48.908" v="77" actId="1076"/>
          <ac:picMkLst>
            <pc:docMk/>
            <pc:sldMk cId="2124848710" sldId="281"/>
            <ac:picMk id="6" creationId="{6C939F6A-371F-7F3F-BC34-33B25A343F61}"/>
          </ac:picMkLst>
        </pc:picChg>
      </pc:sldChg>
      <pc:sldChg chg="addSp modSp mod">
        <pc:chgData name="Roberto Gallardo" userId="49a044883f185952" providerId="LiveId" clId="{7817C575-256D-4992-984A-6B8BB3B9B858}" dt="2023-03-06T23:37:10.084" v="89" actId="1076"/>
        <pc:sldMkLst>
          <pc:docMk/>
          <pc:sldMk cId="2028175529" sldId="282"/>
        </pc:sldMkLst>
        <pc:picChg chg="add mod">
          <ac:chgData name="Roberto Gallardo" userId="49a044883f185952" providerId="LiveId" clId="{7817C575-256D-4992-984A-6B8BB3B9B858}" dt="2023-03-06T23:37:10.084" v="89" actId="1076"/>
          <ac:picMkLst>
            <pc:docMk/>
            <pc:sldMk cId="2028175529" sldId="282"/>
            <ac:picMk id="7" creationId="{3813A986-FDF6-8F63-DB0D-E8C0B8BC7168}"/>
          </ac:picMkLst>
        </pc:picChg>
      </pc:sldChg>
      <pc:sldChg chg="addSp modSp mod">
        <pc:chgData name="Roberto Gallardo" userId="49a044883f185952" providerId="LiveId" clId="{7817C575-256D-4992-984A-6B8BB3B9B858}" dt="2023-03-06T23:37:31.375" v="99" actId="1076"/>
        <pc:sldMkLst>
          <pc:docMk/>
          <pc:sldMk cId="1326517747" sldId="283"/>
        </pc:sldMkLst>
        <pc:picChg chg="add mod">
          <ac:chgData name="Roberto Gallardo" userId="49a044883f185952" providerId="LiveId" clId="{7817C575-256D-4992-984A-6B8BB3B9B858}" dt="2023-03-06T23:37:31.375" v="99" actId="1076"/>
          <ac:picMkLst>
            <pc:docMk/>
            <pc:sldMk cId="1326517747" sldId="283"/>
            <ac:picMk id="7" creationId="{C0342E18-F454-894A-E8F0-FACB8EF3EC6E}"/>
          </ac:picMkLst>
        </pc:picChg>
      </pc:sldChg>
      <pc:sldChg chg="addSp modSp mod">
        <pc:chgData name="Roberto Gallardo" userId="49a044883f185952" providerId="LiveId" clId="{7817C575-256D-4992-984A-6B8BB3B9B858}" dt="2023-03-06T23:37:52.225" v="110" actId="1076"/>
        <pc:sldMkLst>
          <pc:docMk/>
          <pc:sldMk cId="783739251" sldId="284"/>
        </pc:sldMkLst>
        <pc:picChg chg="add mod">
          <ac:chgData name="Roberto Gallardo" userId="49a044883f185952" providerId="LiveId" clId="{7817C575-256D-4992-984A-6B8BB3B9B858}" dt="2023-03-06T23:37:52.225" v="110" actId="1076"/>
          <ac:picMkLst>
            <pc:docMk/>
            <pc:sldMk cId="783739251" sldId="284"/>
            <ac:picMk id="7" creationId="{9D67E06C-CDAB-0E8D-2D0C-10875CD0F3DA}"/>
          </ac:picMkLst>
        </pc:picChg>
      </pc:sldChg>
      <pc:sldChg chg="addSp modSp mod">
        <pc:chgData name="Roberto Gallardo" userId="49a044883f185952" providerId="LiveId" clId="{7817C575-256D-4992-984A-6B8BB3B9B858}" dt="2023-03-06T23:38:14.352" v="122" actId="1076"/>
        <pc:sldMkLst>
          <pc:docMk/>
          <pc:sldMk cId="1676122233" sldId="285"/>
        </pc:sldMkLst>
        <pc:picChg chg="add mod">
          <ac:chgData name="Roberto Gallardo" userId="49a044883f185952" providerId="LiveId" clId="{7817C575-256D-4992-984A-6B8BB3B9B858}" dt="2023-03-06T23:38:14.352" v="122" actId="1076"/>
          <ac:picMkLst>
            <pc:docMk/>
            <pc:sldMk cId="1676122233" sldId="285"/>
            <ac:picMk id="7" creationId="{09A211D7-8AEC-7818-F3C6-F93A4339BFC9}"/>
          </ac:picMkLst>
        </pc:picChg>
      </pc:sldChg>
      <pc:sldChg chg="addSp modSp mod">
        <pc:chgData name="Roberto Gallardo" userId="49a044883f185952" providerId="LiveId" clId="{7817C575-256D-4992-984A-6B8BB3B9B858}" dt="2023-03-06T23:38:32.576" v="131" actId="1076"/>
        <pc:sldMkLst>
          <pc:docMk/>
          <pc:sldMk cId="3100398757" sldId="286"/>
        </pc:sldMkLst>
        <pc:picChg chg="add mod">
          <ac:chgData name="Roberto Gallardo" userId="49a044883f185952" providerId="LiveId" clId="{7817C575-256D-4992-984A-6B8BB3B9B858}" dt="2023-03-06T23:38:32.576" v="131" actId="1076"/>
          <ac:picMkLst>
            <pc:docMk/>
            <pc:sldMk cId="3100398757" sldId="286"/>
            <ac:picMk id="7" creationId="{147B427A-0D28-8215-844A-399A5B8C7F2F}"/>
          </ac:picMkLst>
        </pc:picChg>
      </pc:sldChg>
      <pc:sldChg chg="addSp modSp mod">
        <pc:chgData name="Roberto Gallardo" userId="49a044883f185952" providerId="LiveId" clId="{7817C575-256D-4992-984A-6B8BB3B9B858}" dt="2023-03-06T23:38:52.828" v="143" actId="1076"/>
        <pc:sldMkLst>
          <pc:docMk/>
          <pc:sldMk cId="1546475425" sldId="287"/>
        </pc:sldMkLst>
        <pc:picChg chg="add mod">
          <ac:chgData name="Roberto Gallardo" userId="49a044883f185952" providerId="LiveId" clId="{7817C575-256D-4992-984A-6B8BB3B9B858}" dt="2023-03-06T23:38:52.828" v="143" actId="1076"/>
          <ac:picMkLst>
            <pc:docMk/>
            <pc:sldMk cId="1546475425" sldId="287"/>
            <ac:picMk id="7" creationId="{1ECC16DD-DB25-CC75-C52C-E9A2EFDF5D58}"/>
          </ac:picMkLst>
        </pc:picChg>
      </pc:sldChg>
      <pc:sldChg chg="addSp modSp mod">
        <pc:chgData name="Roberto Gallardo" userId="49a044883f185952" providerId="LiveId" clId="{7817C575-256D-4992-984A-6B8BB3B9B858}" dt="2023-03-06T23:39:29.333" v="164" actId="1076"/>
        <pc:sldMkLst>
          <pc:docMk/>
          <pc:sldMk cId="1380517306" sldId="288"/>
        </pc:sldMkLst>
        <pc:picChg chg="add mod">
          <ac:chgData name="Roberto Gallardo" userId="49a044883f185952" providerId="LiveId" clId="{7817C575-256D-4992-984A-6B8BB3B9B858}" dt="2023-03-06T23:39:29.333" v="164" actId="1076"/>
          <ac:picMkLst>
            <pc:docMk/>
            <pc:sldMk cId="1380517306" sldId="288"/>
            <ac:picMk id="7" creationId="{9C2166B9-6D97-0A48-227A-6426D7FB33F4}"/>
          </ac:picMkLst>
        </pc:picChg>
      </pc:sldChg>
      <pc:sldChg chg="addSp modSp mod">
        <pc:chgData name="Roberto Gallardo" userId="49a044883f185952" providerId="LiveId" clId="{7817C575-256D-4992-984A-6B8BB3B9B858}" dt="2023-03-06T23:39:50.825" v="174" actId="1076"/>
        <pc:sldMkLst>
          <pc:docMk/>
          <pc:sldMk cId="1388671151" sldId="289"/>
        </pc:sldMkLst>
        <pc:picChg chg="add mod">
          <ac:chgData name="Roberto Gallardo" userId="49a044883f185952" providerId="LiveId" clId="{7817C575-256D-4992-984A-6B8BB3B9B858}" dt="2023-03-06T23:39:50.825" v="174" actId="1076"/>
          <ac:picMkLst>
            <pc:docMk/>
            <pc:sldMk cId="1388671151" sldId="289"/>
            <ac:picMk id="7" creationId="{84EFDA39-4C07-247B-66F5-33E0A47FC918}"/>
          </ac:picMkLst>
        </pc:picChg>
      </pc:sldChg>
      <pc:sldChg chg="addSp delSp modSp mod">
        <pc:chgData name="Roberto Gallardo" userId="49a044883f185952" providerId="LiveId" clId="{7817C575-256D-4992-984A-6B8BB3B9B858}" dt="2023-03-06T23:41:59.352" v="215"/>
        <pc:sldMkLst>
          <pc:docMk/>
          <pc:sldMk cId="2355376039" sldId="290"/>
        </pc:sldMkLst>
        <pc:graphicFrameChg chg="add mod">
          <ac:chgData name="Roberto Gallardo" userId="49a044883f185952" providerId="LiveId" clId="{7817C575-256D-4992-984A-6B8BB3B9B858}" dt="2023-03-06T23:41:59.352" v="215"/>
          <ac:graphicFrameMkLst>
            <pc:docMk/>
            <pc:sldMk cId="2355376039" sldId="290"/>
            <ac:graphicFrameMk id="9" creationId="{B9E9AAE1-1733-3B60-CD9F-3C88AFD6075F}"/>
          </ac:graphicFrameMkLst>
        </pc:graphicFrameChg>
        <pc:picChg chg="del">
          <ac:chgData name="Roberto Gallardo" userId="49a044883f185952" providerId="LiveId" clId="{7817C575-256D-4992-984A-6B8BB3B9B858}" dt="2023-03-06T23:41:58.828" v="214" actId="478"/>
          <ac:picMkLst>
            <pc:docMk/>
            <pc:sldMk cId="2355376039" sldId="290"/>
            <ac:picMk id="5" creationId="{BF282927-A3DB-E75A-D3D3-38D3B9DB662D}"/>
          </ac:picMkLst>
        </pc:picChg>
        <pc:picChg chg="add mod">
          <ac:chgData name="Roberto Gallardo" userId="49a044883f185952" providerId="LiveId" clId="{7817C575-256D-4992-984A-6B8BB3B9B858}" dt="2023-03-06T23:40:29.449" v="194" actId="1076"/>
          <ac:picMkLst>
            <pc:docMk/>
            <pc:sldMk cId="2355376039" sldId="290"/>
            <ac:picMk id="8" creationId="{49C7C6FA-6F17-BFD8-1769-00D64B53B946}"/>
          </ac:picMkLst>
        </pc:picChg>
      </pc:sldChg>
      <pc:sldChg chg="addSp delSp modSp mod">
        <pc:chgData name="Roberto Gallardo" userId="49a044883f185952" providerId="LiveId" clId="{7817C575-256D-4992-984A-6B8BB3B9B858}" dt="2023-03-06T23:42:08.224" v="217"/>
        <pc:sldMkLst>
          <pc:docMk/>
          <pc:sldMk cId="3757257295" sldId="291"/>
        </pc:sldMkLst>
        <pc:graphicFrameChg chg="add mod">
          <ac:chgData name="Roberto Gallardo" userId="49a044883f185952" providerId="LiveId" clId="{7817C575-256D-4992-984A-6B8BB3B9B858}" dt="2023-03-06T23:42:08.224" v="217"/>
          <ac:graphicFrameMkLst>
            <pc:docMk/>
            <pc:sldMk cId="3757257295" sldId="291"/>
            <ac:graphicFrameMk id="9" creationId="{0C044AE2-3E1E-2A90-2FED-53F4D339E985}"/>
          </ac:graphicFrameMkLst>
        </pc:graphicFrameChg>
        <pc:picChg chg="del">
          <ac:chgData name="Roberto Gallardo" userId="49a044883f185952" providerId="LiveId" clId="{7817C575-256D-4992-984A-6B8BB3B9B858}" dt="2023-03-06T23:42:02.785" v="216" actId="478"/>
          <ac:picMkLst>
            <pc:docMk/>
            <pc:sldMk cId="3757257295" sldId="291"/>
            <ac:picMk id="7" creationId="{1968BD32-DDBA-C99E-6ACF-ED186F91EF69}"/>
          </ac:picMkLst>
        </pc:picChg>
        <pc:picChg chg="add mod">
          <ac:chgData name="Roberto Gallardo" userId="49a044883f185952" providerId="LiveId" clId="{7817C575-256D-4992-984A-6B8BB3B9B858}" dt="2023-03-06T23:41:02.445" v="213" actId="1037"/>
          <ac:picMkLst>
            <pc:docMk/>
            <pc:sldMk cId="3757257295" sldId="291"/>
            <ac:picMk id="8" creationId="{D34002CE-4ADF-6491-679F-C86F898C53BE}"/>
          </ac:picMkLst>
        </pc:picChg>
      </pc:sldChg>
      <pc:sldChg chg="addSp modSp mod">
        <pc:chgData name="Roberto Gallardo" userId="49a044883f185952" providerId="LiveId" clId="{7817C575-256D-4992-984A-6B8BB3B9B858}" dt="2023-03-06T23:39:09.716" v="154" actId="1076"/>
        <pc:sldMkLst>
          <pc:docMk/>
          <pc:sldMk cId="1259856727" sldId="292"/>
        </pc:sldMkLst>
        <pc:picChg chg="add mod">
          <ac:chgData name="Roberto Gallardo" userId="49a044883f185952" providerId="LiveId" clId="{7817C575-256D-4992-984A-6B8BB3B9B858}" dt="2023-03-06T23:39:09.716" v="154" actId="1076"/>
          <ac:picMkLst>
            <pc:docMk/>
            <pc:sldMk cId="1259856727" sldId="292"/>
            <ac:picMk id="7" creationId="{A7021070-8234-7DAB-DC2E-ACE1EBF646C6}"/>
          </ac:picMkLst>
        </pc:picChg>
      </pc:sldChg>
      <pc:sldChg chg="addSp modSp mod">
        <pc:chgData name="Roberto Gallardo" userId="49a044883f185952" providerId="LiveId" clId="{7817C575-256D-4992-984A-6B8BB3B9B858}" dt="2023-03-06T23:36:29.932" v="65" actId="1076"/>
        <pc:sldMkLst>
          <pc:docMk/>
          <pc:sldMk cId="3324519687" sldId="293"/>
        </pc:sldMkLst>
        <pc:picChg chg="add mod">
          <ac:chgData name="Roberto Gallardo" userId="49a044883f185952" providerId="LiveId" clId="{7817C575-256D-4992-984A-6B8BB3B9B858}" dt="2023-03-06T23:36:29.932" v="65" actId="1076"/>
          <ac:picMkLst>
            <pc:docMk/>
            <pc:sldMk cId="3324519687" sldId="293"/>
            <ac:picMk id="7" creationId="{CCB63B3F-4AA2-5963-9D8F-E59D9E6EEFE6}"/>
          </ac:picMkLst>
        </pc:picChg>
      </pc:sldChg>
      <pc:sldChg chg="addSp modSp mod">
        <pc:chgData name="Roberto Gallardo" userId="49a044883f185952" providerId="LiveId" clId="{7817C575-256D-4992-984A-6B8BB3B9B858}" dt="2023-03-06T23:35:46.092" v="45" actId="1076"/>
        <pc:sldMkLst>
          <pc:docMk/>
          <pc:sldMk cId="3256182630" sldId="295"/>
        </pc:sldMkLst>
        <pc:picChg chg="add mod">
          <ac:chgData name="Roberto Gallardo" userId="49a044883f185952" providerId="LiveId" clId="{7817C575-256D-4992-984A-6B8BB3B9B858}" dt="2023-03-06T23:35:46.092" v="45" actId="1076"/>
          <ac:picMkLst>
            <pc:docMk/>
            <pc:sldMk cId="3256182630" sldId="295"/>
            <ac:picMk id="7" creationId="{654956A1-C571-15BD-7D52-88786A2722CE}"/>
          </ac:picMkLst>
        </pc:picChg>
      </pc:sldChg>
      <pc:sldChg chg="addSp modSp mod">
        <pc:chgData name="Roberto Gallardo" userId="49a044883f185952" providerId="LiveId" clId="{7817C575-256D-4992-984A-6B8BB3B9B858}" dt="2023-03-06T23:36:08.517" v="53" actId="1076"/>
        <pc:sldMkLst>
          <pc:docMk/>
          <pc:sldMk cId="4057156843" sldId="296"/>
        </pc:sldMkLst>
        <pc:picChg chg="add mod">
          <ac:chgData name="Roberto Gallardo" userId="49a044883f185952" providerId="LiveId" clId="{7817C575-256D-4992-984A-6B8BB3B9B858}" dt="2023-03-06T23:36:08.517" v="53" actId="1076"/>
          <ac:picMkLst>
            <pc:docMk/>
            <pc:sldMk cId="4057156843" sldId="296"/>
            <ac:picMk id="7" creationId="{164D2CF3-C02E-9370-7344-DCF4A2E99018}"/>
          </ac:picMkLst>
        </pc:picChg>
      </pc:sldChg>
      <pc:sldChg chg="addSp modSp mod">
        <pc:chgData name="Roberto Gallardo" userId="49a044883f185952" providerId="LiveId" clId="{7817C575-256D-4992-984A-6B8BB3B9B858}" dt="2023-03-06T23:35:21.049" v="33" actId="1076"/>
        <pc:sldMkLst>
          <pc:docMk/>
          <pc:sldMk cId="2080110827" sldId="297"/>
        </pc:sldMkLst>
        <pc:picChg chg="add mod">
          <ac:chgData name="Roberto Gallardo" userId="49a044883f185952" providerId="LiveId" clId="{7817C575-256D-4992-984A-6B8BB3B9B858}" dt="2023-03-06T23:35:21.049" v="33" actId="1076"/>
          <ac:picMkLst>
            <pc:docMk/>
            <pc:sldMk cId="2080110827" sldId="297"/>
            <ac:picMk id="6" creationId="{BC5C484A-025A-8E4D-B31E-F10F7FBA87C5}"/>
          </ac:picMkLst>
        </pc:picChg>
      </pc:sldChg>
      <pc:sldChg chg="addSp modSp mod">
        <pc:chgData name="Roberto Gallardo" userId="49a044883f185952" providerId="LiveId" clId="{7817C575-256D-4992-984A-6B8BB3B9B858}" dt="2023-03-06T23:34:59.097" v="21" actId="1076"/>
        <pc:sldMkLst>
          <pc:docMk/>
          <pc:sldMk cId="1532666867" sldId="298"/>
        </pc:sldMkLst>
        <pc:picChg chg="add mod">
          <ac:chgData name="Roberto Gallardo" userId="49a044883f185952" providerId="LiveId" clId="{7817C575-256D-4992-984A-6B8BB3B9B858}" dt="2023-03-06T23:34:59.097" v="21" actId="1076"/>
          <ac:picMkLst>
            <pc:docMk/>
            <pc:sldMk cId="1532666867" sldId="298"/>
            <ac:picMk id="6" creationId="{80C1DABB-CEF3-CC63-B58C-4C03A84D2D00}"/>
          </ac:picMkLst>
        </pc:picChg>
      </pc:sldChg>
      <pc:sldChg chg="addSp modSp mod">
        <pc:chgData name="Roberto Gallardo" userId="49a044883f185952" providerId="LiveId" clId="{7817C575-256D-4992-984A-6B8BB3B9B858}" dt="2023-03-06T23:40:09.481" v="184" actId="1076"/>
        <pc:sldMkLst>
          <pc:docMk/>
          <pc:sldMk cId="1951376777" sldId="299"/>
        </pc:sldMkLst>
        <pc:picChg chg="add mod">
          <ac:chgData name="Roberto Gallardo" userId="49a044883f185952" providerId="LiveId" clId="{7817C575-256D-4992-984A-6B8BB3B9B858}" dt="2023-03-06T23:40:09.481" v="184" actId="1076"/>
          <ac:picMkLst>
            <pc:docMk/>
            <pc:sldMk cId="1951376777" sldId="299"/>
            <ac:picMk id="7" creationId="{B2414D9C-04E1-9E50-99EB-7D066EF39FFF}"/>
          </ac:picMkLst>
        </pc:picChg>
      </pc:sldChg>
      <pc:sldChg chg="modSp mod">
        <pc:chgData name="Roberto Gallardo" userId="49a044883f185952" providerId="LiveId" clId="{7817C575-256D-4992-984A-6B8BB3B9B858}" dt="2023-02-25T13:25:47.878" v="2" actId="20577"/>
        <pc:sldMkLst>
          <pc:docMk/>
          <pc:sldMk cId="1515423683" sldId="302"/>
        </pc:sldMkLst>
        <pc:spChg chg="mod">
          <ac:chgData name="Roberto Gallardo" userId="49a044883f185952" providerId="LiveId" clId="{7817C575-256D-4992-984A-6B8BB3B9B858}" dt="2023-02-25T13:25:47.878" v="2" actId="20577"/>
          <ac:spMkLst>
            <pc:docMk/>
            <pc:sldMk cId="1515423683" sldId="302"/>
            <ac:spMk id="5" creationId="{6AE302AC-8931-4144-BE52-DD1A8BA82462}"/>
          </ac:spMkLst>
        </pc:spChg>
        <pc:spChg chg="mod">
          <ac:chgData name="Roberto Gallardo" userId="49a044883f185952" providerId="LiveId" clId="{7817C575-256D-4992-984A-6B8BB3B9B858}" dt="2023-02-25T13:25:44.767" v="1" actId="20577"/>
          <ac:spMkLst>
            <pc:docMk/>
            <pc:sldMk cId="1515423683" sldId="302"/>
            <ac:spMk id="9" creationId="{E362A98F-7DCD-C67C-23CE-1BE182A133B4}"/>
          </ac:spMkLst>
        </pc:spChg>
      </pc:sldChg>
      <pc:sldChg chg="del">
        <pc:chgData name="Roberto Gallardo" userId="49a044883f185952" providerId="LiveId" clId="{7817C575-256D-4992-984A-6B8BB3B9B858}" dt="2023-02-25T14:59:44.327" v="4" actId="47"/>
        <pc:sldMkLst>
          <pc:docMk/>
          <pc:sldMk cId="2841628872" sldId="303"/>
        </pc:sldMkLst>
      </pc:sldChg>
      <pc:sldChg chg="del">
        <pc:chgData name="Roberto Gallardo" userId="49a044883f185952" providerId="LiveId" clId="{7817C575-256D-4992-984A-6B8BB3B9B858}" dt="2023-02-25T14:59:44.327" v="4" actId="47"/>
        <pc:sldMkLst>
          <pc:docMk/>
          <pc:sldMk cId="3084076302" sldId="304"/>
        </pc:sldMkLst>
      </pc:sldChg>
      <pc:sldChg chg="del">
        <pc:chgData name="Roberto Gallardo" userId="49a044883f185952" providerId="LiveId" clId="{7817C575-256D-4992-984A-6B8BB3B9B858}" dt="2023-02-25T14:59:44.327" v="4" actId="47"/>
        <pc:sldMkLst>
          <pc:docMk/>
          <pc:sldMk cId="473712435" sldId="305"/>
        </pc:sldMkLst>
      </pc:sldChg>
      <pc:sldChg chg="add">
        <pc:chgData name="Roberto Gallardo" userId="49a044883f185952" providerId="LiveId" clId="{7817C575-256D-4992-984A-6B8BB3B9B858}" dt="2023-02-25T14:59:41.389" v="3"/>
        <pc:sldMkLst>
          <pc:docMk/>
          <pc:sldMk cId="3668119230" sldId="307"/>
        </pc:sldMkLst>
      </pc:sldChg>
      <pc:sldChg chg="add">
        <pc:chgData name="Roberto Gallardo" userId="49a044883f185952" providerId="LiveId" clId="{7817C575-256D-4992-984A-6B8BB3B9B858}" dt="2023-02-25T14:59:41.389" v="3"/>
        <pc:sldMkLst>
          <pc:docMk/>
          <pc:sldMk cId="4156100224" sldId="308"/>
        </pc:sldMkLst>
      </pc:sldChg>
      <pc:sldChg chg="add">
        <pc:chgData name="Roberto Gallardo" userId="49a044883f185952" providerId="LiveId" clId="{7817C575-256D-4992-984A-6B8BB3B9B858}" dt="2023-02-25T14:59:41.389" v="3"/>
        <pc:sldMkLst>
          <pc:docMk/>
          <pc:sldMk cId="226044689" sldId="309"/>
        </pc:sldMkLst>
      </pc:sldChg>
      <pc:sldChg chg="add">
        <pc:chgData name="Roberto Gallardo" userId="49a044883f185952" providerId="LiveId" clId="{7817C575-256D-4992-984A-6B8BB3B9B858}" dt="2023-02-25T14:59:41.389" v="3"/>
        <pc:sldMkLst>
          <pc:docMk/>
          <pc:sldMk cId="1644921997"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Onslow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B5EDE9A-CBA7-8564-F7CC-4BACE35CE60E}"/>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260446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124C904C-2F6E-D23E-E973-013385537CD1}"/>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1644921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32CC7B83-B8F8-9DEB-B221-8B361D1674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schematic, map&#10;&#10;Description automatically generated">
            <a:extLst>
              <a:ext uri="{FF2B5EF4-FFF2-40B4-BE49-F238E27FC236}">
                <a16:creationId xmlns:a16="http://schemas.microsoft.com/office/drawing/2014/main" id="{80C1DABB-CEF3-CC63-B58C-4C03A84D2D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schematic&#10;&#10;Description automatically generated">
            <a:extLst>
              <a:ext uri="{FF2B5EF4-FFF2-40B4-BE49-F238E27FC236}">
                <a16:creationId xmlns:a16="http://schemas.microsoft.com/office/drawing/2014/main" id="{BC5C484A-025A-8E4D-B31E-F10F7FBA87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4C0BA15-6E88-322B-098D-9AA1C6C60210}"/>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schematic, map&#10;&#10;Description automatically generated">
            <a:extLst>
              <a:ext uri="{FF2B5EF4-FFF2-40B4-BE49-F238E27FC236}">
                <a16:creationId xmlns:a16="http://schemas.microsoft.com/office/drawing/2014/main" id="{654956A1-C571-15BD-7D52-88786A2722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9F1217F-8E35-8782-9273-34825A47C421}"/>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map&#10;&#10;Description automatically generated">
            <a:extLst>
              <a:ext uri="{FF2B5EF4-FFF2-40B4-BE49-F238E27FC236}">
                <a16:creationId xmlns:a16="http://schemas.microsoft.com/office/drawing/2014/main" id="{164D2CF3-C02E-9370-7344-DCF4A2E990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5BBFF02B-64D6-0D49-3998-F1758DC65469}"/>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 schematic, map&#10;&#10;Description automatically generated">
            <a:extLst>
              <a:ext uri="{FF2B5EF4-FFF2-40B4-BE49-F238E27FC236}">
                <a16:creationId xmlns:a16="http://schemas.microsoft.com/office/drawing/2014/main" id="{CCB63B3F-4AA2-5963-9D8F-E59D9E6EEF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2C7A971-2227-E2A7-1921-26243FA94A74}"/>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10;&#10;Description automatically generated">
            <a:extLst>
              <a:ext uri="{FF2B5EF4-FFF2-40B4-BE49-F238E27FC236}">
                <a16:creationId xmlns:a16="http://schemas.microsoft.com/office/drawing/2014/main" id="{6C939F6A-371F-7F3F-BC34-33B25A343F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547"/>
            <a:ext cx="6403975" cy="4528617"/>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7327F96E-ECEA-C7DA-9B5E-CFF2DCD5A87A}"/>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3813A986-FDF6-8F63-DB0D-E8C0B8BC71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2"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a:t>
            </a:r>
            <a:r>
              <a:rPr lang="en-US" sz="1400"/>
              <a:t>darker 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0DD2F744-0888-A8D0-947B-4F769F3F997B}"/>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C0342E18-F454-894A-E8F0-FACB8EF3EC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9974" y="1400623"/>
            <a:ext cx="6403652" cy="452838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2C072F8D-C2D8-4D58-45E6-5AE92DFF2FA3}"/>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9D67E06C-CDAB-0E8D-2D0C-10875CD0F3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7"/>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8F3CD2DC-A841-D358-69B9-B2F664BE7409}"/>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09A211D7-8AEC-7818-F3C6-F93A4339BF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719" y="1407611"/>
            <a:ext cx="6403881" cy="452855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F2356888-2882-5528-A9B9-0526101571D9}"/>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147B427A-0D28-8215-844A-399A5B8C7F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2956" y="1430831"/>
            <a:ext cx="6376169" cy="4508953"/>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617C2896-9EC9-E2D8-FDF5-EF93BF003DCD}"/>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1ECC16DD-DB25-CC75-C52C-E9A2EFDF5D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1"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2FC9D834-F11F-E752-A9BA-7C336E345CDB}"/>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A7021070-8234-7DAB-DC2E-ACE1EBF646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772"/>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E7C8D25A-7734-BE85-297E-9DDEB15D2ECB}"/>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9C2166B9-6D97-0A48-227A-6426D7FB33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BD6BE466-0F8E-C49A-1386-43C3A91AD9C1}"/>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84EFDA39-4C07-247B-66F5-33E0A47FC9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24A37108-9926-2B83-1D95-E459C18D3D44}"/>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10;&#10;Description automatically generated">
            <a:extLst>
              <a:ext uri="{FF2B5EF4-FFF2-40B4-BE49-F238E27FC236}">
                <a16:creationId xmlns:a16="http://schemas.microsoft.com/office/drawing/2014/main" id="{B2414D9C-04E1-9E50-99EB-7D066EF39F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schematic&#10;&#10;Description automatically generated">
            <a:extLst>
              <a:ext uri="{FF2B5EF4-FFF2-40B4-BE49-F238E27FC236}">
                <a16:creationId xmlns:a16="http://schemas.microsoft.com/office/drawing/2014/main" id="{49C7C6FA-6F17-BFD8-1769-00D64B53B9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8800" y="1417147"/>
            <a:ext cx="6400800" cy="4526372"/>
          </a:xfrm>
          <a:prstGeom prst="rect">
            <a:avLst/>
          </a:prstGeom>
        </p:spPr>
      </p:pic>
      <p:pic>
        <p:nvPicPr>
          <p:cNvPr id="10" name="Picture 9">
            <a:extLst>
              <a:ext uri="{FF2B5EF4-FFF2-40B4-BE49-F238E27FC236}">
                <a16:creationId xmlns:a16="http://schemas.microsoft.com/office/drawing/2014/main" id="{DED8053E-DBE6-7DFC-C83A-9936816B1729}"/>
              </a:ext>
            </a:extLst>
          </p:cNvPr>
          <p:cNvPicPr preferRelativeResize="0"/>
          <p:nvPr/>
        </p:nvPicPr>
        <p:blipFill>
          <a:blip r:embed="rId3"/>
          <a:stretch>
            <a:fillRect/>
          </a:stretch>
        </p:blipFill>
        <p:spPr>
          <a:xfrm>
            <a:off x="152400" y="1749828"/>
            <a:ext cx="5390460" cy="38610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DE750D1A-23EB-9FA2-26C1-DC85BC5FAF0D}"/>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 schematic&#10;&#10;Description automatically generated">
            <a:extLst>
              <a:ext uri="{FF2B5EF4-FFF2-40B4-BE49-F238E27FC236}">
                <a16:creationId xmlns:a16="http://schemas.microsoft.com/office/drawing/2014/main" id="{D34002CE-4ADF-6491-679F-C86F898C53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45331" y="1408762"/>
            <a:ext cx="6400800" cy="4526371"/>
          </a:xfrm>
          <a:prstGeom prst="rect">
            <a:avLst/>
          </a:prstGeom>
        </p:spPr>
      </p:pic>
      <p:pic>
        <p:nvPicPr>
          <p:cNvPr id="10" name="Picture 9">
            <a:extLst>
              <a:ext uri="{FF2B5EF4-FFF2-40B4-BE49-F238E27FC236}">
                <a16:creationId xmlns:a16="http://schemas.microsoft.com/office/drawing/2014/main" id="{8965FE1B-A756-9F07-280A-D003C4EE43D1}"/>
              </a:ext>
            </a:extLst>
          </p:cNvPr>
          <p:cNvPicPr preferRelativeResize="0"/>
          <p:nvPr/>
        </p:nvPicPr>
        <p:blipFill>
          <a:blip r:embed="rId3"/>
          <a:stretch>
            <a:fillRect/>
          </a:stretch>
        </p:blipFill>
        <p:spPr>
          <a:xfrm>
            <a:off x="152399" y="1762247"/>
            <a:ext cx="5332371" cy="3819403"/>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F9EC322B-D025-FB2A-D98E-6804BE41E5BD}"/>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71F6004-3E56-3FE5-D3E8-7B3A23450F3B}"/>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B35B13B-9656-0E50-18F6-AD21603CA0AA}"/>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3042293"/>
            <a:ext cx="1198148" cy="1881138"/>
            <a:chOff x="10485745" y="3000462"/>
            <a:chExt cx="1198148" cy="188113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4365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8.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30004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000462"/>
              <a:ext cx="0" cy="4360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29086"/>
              <a:ext cx="0" cy="5525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610314"/>
            <a:ext cx="1198148" cy="2133852"/>
            <a:chOff x="2775759" y="2358158"/>
            <a:chExt cx="1198148" cy="21338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4672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17996" y="23581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67683"/>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p:cNvCxnSpPr>
            <p:nvPr/>
          </p:nvCxnSpPr>
          <p:spPr>
            <a:xfrm>
              <a:off x="3374833" y="3967671"/>
              <a:ext cx="0" cy="5243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6BA81862-5BA6-D297-1012-F1E620CFBE9C}"/>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0A4CE180-60A1-E5A0-0462-FCFA89C34EED}"/>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AD392C9-BBC8-DD42-0AF4-D969CF4C3F88}"/>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BAB87BA0-EFAD-E37C-04AC-04D54CBCB566}"/>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9EFEF3C4-D63C-780E-F77A-1EED2C16E9C5}"/>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E873B0F5-FF13-10C3-6E0B-E187BD7E2054}"/>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619DC8E9-6632-3DDB-1AEE-FE07F38C975C}"/>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668119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221287C-F491-1F22-FFFA-3B35CEBC1C13}"/>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4156100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98</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88</cp:revision>
  <dcterms:created xsi:type="dcterms:W3CDTF">2022-07-04T13:32:28Z</dcterms:created>
  <dcterms:modified xsi:type="dcterms:W3CDTF">2023-03-06T23:42:27Z</dcterms:modified>
</cp:coreProperties>
</file>